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E9E9E9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6" d="100"/>
          <a:sy n="66" d="100"/>
        </p:scale>
        <p:origin x="702" y="84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F050B780-13B7-7B13-28DD-EA72D8EB87E2}"/>
    <pc:docChg chg="modSld">
      <pc:chgData name="Christodoulou, Konstantinos" userId="S::kchristodoulou@internal.colt.net::81c234c6-6624-4c83-aac0-9aea992cfbe7" providerId="AD" clId="Web-{F050B780-13B7-7B13-28DD-EA72D8EB87E2}" dt="2018-10-31T16:08:00.656" v="45"/>
      <pc:docMkLst>
        <pc:docMk/>
      </pc:docMkLst>
      <pc:sldChg chg="modSp">
        <pc:chgData name="Christodoulou, Konstantinos" userId="S::kchristodoulou@internal.colt.net::81c234c6-6624-4c83-aac0-9aea992cfbe7" providerId="AD" clId="Web-{F050B780-13B7-7B13-28DD-EA72D8EB87E2}" dt="2018-10-31T16:08:00.656" v="45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F050B780-13B7-7B13-28DD-EA72D8EB87E2}" dt="2018-10-31T16:08:00.656" v="45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A2BAFF72-BF6A-90E4-F412-EA16FB70013B}"/>
    <pc:docChg chg="modSld">
      <pc:chgData name="Christodoulou, Konstantinos" userId="S::kchristodoulou@internal.colt.net::81c234c6-6624-4c83-aac0-9aea992cfbe7" providerId="AD" clId="Web-{A2BAFF72-BF6A-90E4-F412-EA16FB70013B}" dt="2019-02-05T08:40:32.759" v="53"/>
      <pc:docMkLst>
        <pc:docMk/>
      </pc:docMkLst>
      <pc:sldChg chg="modSp">
        <pc:chgData name="Christodoulou, Konstantinos" userId="S::kchristodoulou@internal.colt.net::81c234c6-6624-4c83-aac0-9aea992cfbe7" providerId="AD" clId="Web-{A2BAFF72-BF6A-90E4-F412-EA16FB70013B}" dt="2019-02-05T08:40:32.759" v="5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A2BAFF72-BF6A-90E4-F412-EA16FB70013B}" dt="2019-02-05T08:40:32.759" v="5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9EBBF5BF-E38C-9DCA-4CBD-A13E44C4734C}"/>
    <pc:docChg chg="modSld">
      <pc:chgData name="Christodoulou, Konstantinos" userId="S::kchristodoulou@internal.colt.net::81c234c6-6624-4c83-aac0-9aea992cfbe7" providerId="AD" clId="Web-{9EBBF5BF-E38C-9DCA-4CBD-A13E44C4734C}" dt="2019-02-05T09:12:27.132" v="18" actId="1076"/>
      <pc:docMkLst>
        <pc:docMk/>
      </pc:docMkLst>
      <pc:sldChg chg="modSp">
        <pc:chgData name="Christodoulou, Konstantinos" userId="S::kchristodoulou@internal.colt.net::81c234c6-6624-4c83-aac0-9aea992cfbe7" providerId="AD" clId="Web-{9EBBF5BF-E38C-9DCA-4CBD-A13E44C4734C}" dt="2019-02-05T09:12:27.132" v="18" actId="1076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9EBBF5BF-E38C-9DCA-4CBD-A13E44C4734C}" dt="2019-02-05T09:12:10.569" v="15" actId="1076"/>
          <ac:graphicFrameMkLst>
            <pc:docMk/>
            <pc:sldMk cId="214108182" sldId="386"/>
            <ac:graphicFrameMk id="2" creationId="{00000000-0000-0000-0000-000000000000}"/>
          </ac:graphicFrameMkLst>
        </pc:graphicFrameChg>
        <pc:picChg chg="mod">
          <ac:chgData name="Christodoulou, Konstantinos" userId="S::kchristodoulou@internal.colt.net::81c234c6-6624-4c83-aac0-9aea992cfbe7" providerId="AD" clId="Web-{9EBBF5BF-E38C-9DCA-4CBD-A13E44C4734C}" dt="2019-02-05T09:12:27.132" v="18" actId="1076"/>
          <ac:picMkLst>
            <pc:docMk/>
            <pc:sldMk cId="214108182" sldId="386"/>
            <ac:picMk id="22" creationId="{00000000-0000-0000-0000-000000000000}"/>
          </ac:picMkLst>
        </pc:picChg>
        <pc:picChg chg="mod">
          <ac:chgData name="Christodoulou, Konstantinos" userId="S::kchristodoulou@internal.colt.net::81c234c6-6624-4c83-aac0-9aea992cfbe7" providerId="AD" clId="Web-{9EBBF5BF-E38C-9DCA-4CBD-A13E44C4734C}" dt="2019-02-05T09:12:25.210" v="17" actId="1076"/>
          <ac:picMkLst>
            <pc:docMk/>
            <pc:sldMk cId="214108182" sldId="386"/>
            <ac:picMk id="23" creationId="{00000000-0000-0000-0000-000000000000}"/>
          </ac:picMkLst>
        </pc:picChg>
        <pc:picChg chg="mod">
          <ac:chgData name="Christodoulou, Konstantinos" userId="S::kchristodoulou@internal.colt.net::81c234c6-6624-4c83-aac0-9aea992cfbe7" providerId="AD" clId="Web-{9EBBF5BF-E38C-9DCA-4CBD-A13E44C4734C}" dt="2019-02-05T09:12:20.945" v="16" actId="1076"/>
          <ac:picMkLst>
            <pc:docMk/>
            <pc:sldMk cId="214108182" sldId="386"/>
            <ac:picMk id="27" creationId="{00000000-0000-0000-0000-000000000000}"/>
          </ac:picMkLst>
        </pc:picChg>
      </pc:sldChg>
    </pc:docChg>
  </pc:docChgLst>
  <pc:docChgLst>
    <pc:chgData name="Christodoulou, Konstantinos" userId="S::kchristodoulou@internal.colt.net::81c234c6-6624-4c83-aac0-9aea992cfbe7" providerId="AD" clId="Web-{311A97D4-8798-8C70-4183-A8B734693017}"/>
    <pc:docChg chg="modSld">
      <pc:chgData name="Christodoulou, Konstantinos" userId="S::kchristodoulou@internal.colt.net::81c234c6-6624-4c83-aac0-9aea992cfbe7" providerId="AD" clId="Web-{311A97D4-8798-8C70-4183-A8B734693017}" dt="2018-11-06T11:46:49.036" v="45"/>
      <pc:docMkLst>
        <pc:docMk/>
      </pc:docMkLst>
      <pc:sldChg chg="modSp">
        <pc:chgData name="Christodoulou, Konstantinos" userId="S::kchristodoulou@internal.colt.net::81c234c6-6624-4c83-aac0-9aea992cfbe7" providerId="AD" clId="Web-{311A97D4-8798-8C70-4183-A8B734693017}" dt="2018-11-06T11:46:49.036" v="45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311A97D4-8798-8C70-4183-A8B734693017}" dt="2018-11-06T11:46:49.036" v="45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6C0E4EC2-4712-0832-C2F3-855E22091283}"/>
    <pc:docChg chg="modSld">
      <pc:chgData name="Christodoulou, Konstantinos" userId="S::kchristodoulou@internal.colt.net::81c234c6-6624-4c83-aac0-9aea992cfbe7" providerId="AD" clId="Web-{6C0E4EC2-4712-0832-C2F3-855E22091283}" dt="2019-02-05T09:58:11.518" v="25"/>
      <pc:docMkLst>
        <pc:docMk/>
      </pc:docMkLst>
      <pc:sldChg chg="modSp">
        <pc:chgData name="Christodoulou, Konstantinos" userId="S::kchristodoulou@internal.colt.net::81c234c6-6624-4c83-aac0-9aea992cfbe7" providerId="AD" clId="Web-{6C0E4EC2-4712-0832-C2F3-855E22091283}" dt="2019-02-05T09:58:11.518" v="25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6C0E4EC2-4712-0832-C2F3-855E22091283}" dt="2019-02-05T09:58:11.518" v="25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8-8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8-8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DK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Denmark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401693"/>
              </p:ext>
            </p:extLst>
          </p:nvPr>
        </p:nvGraphicFramePr>
        <p:xfrm>
          <a:off x="823800" y="910040"/>
          <a:ext cx="10863790" cy="57897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   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6:00 CET (Mon-Fri)</a:t>
                      </a:r>
                      <a:br>
                        <a:rPr lang="en-US" sz="1400" dirty="0"/>
                      </a:br>
                      <a:r>
                        <a:rPr lang="en-US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US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                      08:30 – 16:30 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 (EN)</a:t>
                      </a:r>
                      <a:endParaRPr lang="en-GB" sz="1400" kern="1200" baseline="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15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8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2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  <a:endParaRPr lang="en-GB" sz="14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 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600" b="0" i="0" u="none" strike="noStrike" baseline="0" noProof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br>
                        <a:rPr lang="en-GB" sz="1600" b="0" baseline="0" dirty="0">
                          <a:latin typeface="+mn-lt"/>
                          <a:cs typeface="Times New Roman"/>
                        </a:rPr>
                      </a:br>
                      <a:endParaRPr lang="en-GB" sz="1600" b="0" i="0" u="none" strike="noStrike" baseline="0" noProof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28946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2039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 working day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u="sng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DK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@colt.net</a:t>
                      </a:r>
                      <a:r>
                        <a:rPr lang="en-GB" sz="1400" b="0" i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u="sng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45 80717004</a:t>
                      </a:r>
                      <a:endParaRPr lang="en-GB" sz="1400" kern="1200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0789" y="3207957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0" y="3917820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4942902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420" y="2606967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4974235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38</_dlc_DocId>
    <_dlc_DocIdUrl xmlns="85bdb67a-68dc-4b72-be68-a086d460c31f">
      <Url>https://coltinternal.sharepoint.com/sites/pt/PortingInformation/_layouts/15/DocIdRedir.aspx?ID=DHQ4KNS6T2M2-2111369996-38</Url>
      <Description>DHQ4KNS6T2M2-2111369996-38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D6A931E-D6C9-4527-B820-B9E710EF71BD}">
  <ds:schemaRefs>
    <ds:schemaRef ds:uri="f1d1c7a4-d8f1-45db-9f4e-e74acd9c8e06"/>
    <ds:schemaRef ds:uri="http://purl.org/dc/dcmitype/"/>
    <ds:schemaRef ds:uri="85bdb67a-68dc-4b72-be68-a086d460c31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DCC5350-7061-44D4-88F0-8608CBDF16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D449125-A6F1-4503-9AF7-791BACBABF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583B397C-F8A8-4B4C-8177-27307B71B9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</Words>
  <Application>Microsoft Office PowerPoint</Application>
  <PresentationFormat>Widescreen</PresentationFormat>
  <Paragraphs>2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Christodoulou, Konstantinos</cp:lastModifiedBy>
  <cp:revision>484</cp:revision>
  <dcterms:created xsi:type="dcterms:W3CDTF">2017-08-30T16:21:34Z</dcterms:created>
  <dcterms:modified xsi:type="dcterms:W3CDTF">2019-08-28T15:2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8b4d8075-1fc4-4624-a1ef-d7769aad5ee3</vt:lpwstr>
  </property>
</Properties>
</file>